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37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6640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5752236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FZZhunYuan-M02S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/>
              <a:t>预计出现备件短缺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zh-CN" altLang="fr-FR" dirty="0"/>
              <a:t>瓶坯定向器上的新</a:t>
            </a:r>
            <a:r>
              <a:rPr lang="fr-FR" altLang="zh-CN" dirty="0"/>
              <a:t>CPU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价值：更新换代</a:t>
            </a:r>
          </a:p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设备：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Series2</a:t>
            </a:r>
            <a:r>
              <a:rPr lang="ja-JP" altLang="fr-FR" sz="800" kern="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 吹瓶机</a:t>
            </a:r>
            <a:endParaRPr kumimoji="0" lang="fr-FR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产品目录代码：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OCB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158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/>
              <a:t>Safer solution with newer component available from Sidel.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imminent Spare Parts unavailability.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long production stoppages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dirty="0"/>
              <a:t>The program (SW) is now installed on a removable memory car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236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19" lvl="1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kit components: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CPU 312C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emovable 64K EEPROM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program (SW)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input PLC card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endParaRPr lang="en-US" altLang="x-none" sz="1100" dirty="0">
              <a:solidFill>
                <a:srgbClr val="00000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A0BC773-D7D0-46CE-A0F6-3DF5DD13BD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397" y="4262055"/>
            <a:ext cx="1242754" cy="14255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B4A9FEF-68B1-47E4-867F-8F28BF7F5D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9927" y="3869417"/>
            <a:ext cx="1242755" cy="124409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78852A5-09E6-4602-9BF7-3719A0A4222C}"/>
              </a:ext>
            </a:extLst>
          </p:cNvPr>
          <p:cNvSpPr txBox="1"/>
          <p:nvPr/>
        </p:nvSpPr>
        <p:spPr>
          <a:xfrm>
            <a:off x="2425808" y="399064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BEFO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7FE0B1-D1B9-42CB-8EEF-C358F549F71D}"/>
              </a:ext>
            </a:extLst>
          </p:cNvPr>
          <p:cNvSpPr txBox="1"/>
          <p:nvPr/>
        </p:nvSpPr>
        <p:spPr>
          <a:xfrm>
            <a:off x="5423841" y="520876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AFTE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601C3E9-C37A-4A90-B881-99FA1C01AD8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414" y="4223309"/>
            <a:ext cx="1983317" cy="1487488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36237B7-2E30-4CA1-B645-1A759DB0C7D6}"/>
              </a:ext>
            </a:extLst>
          </p:cNvPr>
          <p:cNvCxnSpPr>
            <a:cxnSpLocks/>
            <a:endCxn id="27" idx="2"/>
          </p:cNvCxnSpPr>
          <p:nvPr/>
        </p:nvCxnSpPr>
        <p:spPr>
          <a:xfrm>
            <a:off x="6102682" y="4423954"/>
            <a:ext cx="1398256" cy="28141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7077C62C-C921-47D2-AF70-EC384EAE7BD2}"/>
              </a:ext>
            </a:extLst>
          </p:cNvPr>
          <p:cNvSpPr/>
          <p:nvPr/>
        </p:nvSpPr>
        <p:spPr>
          <a:xfrm>
            <a:off x="7500938" y="4539324"/>
            <a:ext cx="904875" cy="3320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92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69</TotalTime>
  <Words>108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宋体</vt:lpstr>
      <vt:lpstr>Arial</vt:lpstr>
      <vt:lpstr>FZZhunYuan-M02S</vt:lpstr>
      <vt:lpstr>Wingdings</vt:lpstr>
      <vt:lpstr>2_NewSidel_Template_4x3_with add layouts</vt:lpstr>
      <vt:lpstr>think-cell Folie</vt:lpstr>
      <vt:lpstr>预计出现备件短缺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9</cp:revision>
  <dcterms:created xsi:type="dcterms:W3CDTF">2019-02-20T10:39:16Z</dcterms:created>
  <dcterms:modified xsi:type="dcterms:W3CDTF">2021-02-18T13:0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